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6:27.727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6:27.727" v="13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A4CFA2F4-FF8D-446B-B271-6DF568DBEADA}" dt="2026-02-12T08:06:17.231" v="7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Traffic revenue</c:v>
                </c:pt>
                <c:pt idx="1">
                  <c:v>6% – Rental income from real estate</c:v>
                </c:pt>
                <c:pt idx="2">
                  <c:v>12% – Other income</c:v>
                </c:pt>
                <c:pt idx="3">
                  <c:v>12% – Own work capitalised</c:v>
                </c:pt>
                <c:pt idx="4">
                  <c:v>27% – Public-sector funding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956.8073747020399</c:v>
                </c:pt>
                <c:pt idx="1">
                  <c:v>742.96468028659501</c:v>
                </c:pt>
                <c:pt idx="2">
                  <c:v>1402.5437542682</c:v>
                </c:pt>
                <c:pt idx="3">
                  <c:v>1458.0204300400001</c:v>
                </c:pt>
                <c:pt idx="4">
                  <c:v>3122.0523444062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8485776396404879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0% – Personnel expenses</c:v>
                </c:pt>
                <c:pt idx="1">
                  <c:v>9% – Cost of materials</c:v>
                </c:pt>
                <c:pt idx="2">
                  <c:v>11% – Third-party operating and maintenance services</c:v>
                </c:pt>
                <c:pt idx="3">
                  <c:v>16% – Other expenses</c:v>
                </c:pt>
                <c:pt idx="4">
                  <c:v>24% – Depreciatio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466.9355092994001</c:v>
                </c:pt>
                <c:pt idx="1">
                  <c:v>-966.60982048359699</c:v>
                </c:pt>
                <c:pt idx="2">
                  <c:v>-1185.9344655597599</c:v>
                </c:pt>
                <c:pt idx="3">
                  <c:v>-1755.8557607334999</c:v>
                </c:pt>
                <c:pt idx="4">
                  <c:v>-2693.68601883699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8663277886016072E-2"/>
          <c:y val="0.78130886993356086"/>
          <c:w val="0.86080366081758064"/>
          <c:h val="0.18043260965604743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6179247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316714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perating Income and Operating Expenses </a:t>
            </a:r>
            <a:r>
              <a:rPr lang="en-US"/>
              <a:t>in 2025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8979921" y="6231421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B5B6383-6FF8-1F1E-2BE5-0AC67987A28E}"/>
              </a:ext>
            </a:extLst>
          </p:cNvPr>
          <p:cNvSpPr txBox="1"/>
          <p:nvPr/>
        </p:nvSpPr>
        <p:spPr>
          <a:xfrm>
            <a:off x="1900803" y="154449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Incom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C5B6F70-F6F0-3F73-2D51-38323BD1B047}"/>
              </a:ext>
            </a:extLst>
          </p:cNvPr>
          <p:cNvSpPr txBox="1"/>
          <p:nvPr/>
        </p:nvSpPr>
        <p:spPr>
          <a:xfrm>
            <a:off x="6224691" y="15385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xpense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7D2B4B-8DF3-41A1-BD5B-0ED87F8AFE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